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5" r:id="rId1"/>
  </p:sldMasterIdLst>
  <p:notesMasterIdLst>
    <p:notesMasterId r:id="rId6"/>
  </p:notesMasterIdLst>
  <p:handoutMasterIdLst>
    <p:handoutMasterId r:id="rId7"/>
  </p:handoutMasterIdLst>
  <p:sldIdLst>
    <p:sldId id="659" r:id="rId2"/>
    <p:sldId id="790" r:id="rId3"/>
    <p:sldId id="791" r:id="rId4"/>
    <p:sldId id="785" r:id="rId5"/>
  </p:sldIdLst>
  <p:sldSz cx="9144000" cy="5143500" type="screen16x9"/>
  <p:notesSz cx="7010400" cy="9296400"/>
  <p:custDataLst>
    <p:tags r:id="rId8"/>
  </p:custDataLst>
  <p:defaultTextStyle>
    <a:defPPr>
      <a:defRPr lang="en-US"/>
    </a:defPPr>
    <a:lvl1pPr marL="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0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6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1">
          <p15:clr>
            <a:srgbClr val="A4A3A4"/>
          </p15:clr>
        </p15:guide>
        <p15:guide id="2" orient="horz" pos="758">
          <p15:clr>
            <a:srgbClr val="A4A3A4"/>
          </p15:clr>
        </p15:guide>
        <p15:guide id="3" orient="horz" pos="1668">
          <p15:clr>
            <a:srgbClr val="A4A3A4"/>
          </p15:clr>
        </p15:guide>
        <p15:guide id="4" orient="horz" pos="107">
          <p15:clr>
            <a:srgbClr val="A4A3A4"/>
          </p15:clr>
        </p15:guide>
        <p15:guide id="5" orient="horz" pos="3108">
          <p15:clr>
            <a:srgbClr val="A4A3A4"/>
          </p15:clr>
        </p15:guide>
        <p15:guide id="6" orient="horz" pos="2483">
          <p15:clr>
            <a:srgbClr val="A4A3A4"/>
          </p15:clr>
        </p15:guide>
        <p15:guide id="7" orient="horz" pos="337">
          <p15:clr>
            <a:srgbClr val="A4A3A4"/>
          </p15:clr>
        </p15:guide>
        <p15:guide id="8" orient="horz" pos="1889">
          <p15:clr>
            <a:srgbClr val="A4A3A4"/>
          </p15:clr>
        </p15:guide>
        <p15:guide id="9" pos="298">
          <p15:clr>
            <a:srgbClr val="A4A3A4"/>
          </p15:clr>
        </p15:guide>
        <p15:guide id="10" pos="1897">
          <p15:clr>
            <a:srgbClr val="A4A3A4"/>
          </p15:clr>
        </p15:guide>
        <p15:guide id="11" pos="3312">
          <p15:clr>
            <a:srgbClr val="A4A3A4"/>
          </p15:clr>
        </p15:guide>
        <p15:guide id="12" pos="5495">
          <p15:clr>
            <a:srgbClr val="A4A3A4"/>
          </p15:clr>
        </p15:guide>
        <p15:guide id="13" pos="5383">
          <p15:clr>
            <a:srgbClr val="A4A3A4"/>
          </p15:clr>
        </p15:guide>
        <p15:guide id="14" pos="3648">
          <p15:clr>
            <a:srgbClr val="A4A3A4"/>
          </p15:clr>
        </p15:guide>
        <p15:guide id="15" orient="horz" pos="708">
          <p15:clr>
            <a:srgbClr val="A4A3A4"/>
          </p15:clr>
        </p15:guide>
        <p15:guide id="16" pos="290">
          <p15:clr>
            <a:srgbClr val="A4A3A4"/>
          </p15:clr>
        </p15:guide>
        <p15:guide id="17" pos="5482">
          <p15:clr>
            <a:srgbClr val="A4A3A4"/>
          </p15:clr>
        </p15:guide>
        <p15:guide id="18" orient="horz" pos="2951">
          <p15:clr>
            <a:srgbClr val="A4A3A4"/>
          </p15:clr>
        </p15:guide>
        <p15:guide id="19" orient="horz" pos="1684">
          <p15:clr>
            <a:srgbClr val="A4A3A4"/>
          </p15:clr>
        </p15:guide>
        <p15:guide id="20" orient="horz" pos="138">
          <p15:clr>
            <a:srgbClr val="A4A3A4"/>
          </p15:clr>
        </p15:guide>
        <p15:guide id="21" pos="5519">
          <p15:clr>
            <a:srgbClr val="A4A3A4"/>
          </p15:clr>
        </p15:guide>
        <p15:guide id="22" pos="9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d Rhodes" initials="B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BEB"/>
    <a:srgbClr val="FDFDFD"/>
    <a:srgbClr val="B5EA9A"/>
    <a:srgbClr val="E6E6E6"/>
    <a:srgbClr val="DEE4EE"/>
    <a:srgbClr val="DFE5EF"/>
    <a:srgbClr val="FC9A2D"/>
    <a:srgbClr val="FFFFFF"/>
    <a:srgbClr val="FAAF8E"/>
    <a:srgbClr val="FCB6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2941" autoAdjust="0"/>
    <p:restoredTop sz="96625" autoAdjust="0"/>
  </p:normalViewPr>
  <p:slideViewPr>
    <p:cSldViewPr snapToGrid="0" showGuides="1">
      <p:cViewPr varScale="1">
        <p:scale>
          <a:sx n="96" d="100"/>
          <a:sy n="96" d="100"/>
        </p:scale>
        <p:origin x="1086" y="72"/>
      </p:cViewPr>
      <p:guideLst>
        <p:guide orient="horz" pos="1781"/>
        <p:guide orient="horz" pos="758"/>
        <p:guide orient="horz" pos="1668"/>
        <p:guide orient="horz" pos="107"/>
        <p:guide orient="horz" pos="3108"/>
        <p:guide orient="horz" pos="2483"/>
        <p:guide orient="horz" pos="337"/>
        <p:guide orient="horz" pos="1889"/>
        <p:guide pos="298"/>
        <p:guide pos="1897"/>
        <p:guide pos="3312"/>
        <p:guide pos="5495"/>
        <p:guide pos="5383"/>
        <p:guide pos="3648"/>
        <p:guide orient="horz" pos="708"/>
        <p:guide pos="290"/>
        <p:guide pos="5482"/>
        <p:guide orient="horz" pos="2951"/>
        <p:guide orient="horz" pos="1684"/>
        <p:guide orient="horz" pos="138"/>
        <p:guide pos="5519"/>
        <p:guide pos="9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58" d="100"/>
          <a:sy n="58" d="100"/>
        </p:scale>
        <p:origin x="-1099" y="-67"/>
      </p:cViewPr>
      <p:guideLst>
        <p:guide orient="horz" pos="2880"/>
        <p:guide pos="2160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24FDB-0419-4D6F-A685-8F4C92A72D33}" type="datetimeFigureOut">
              <a:rPr lang="en-US" smtClean="0">
                <a:latin typeface="Avenir LT Std 35 Light"/>
              </a:rPr>
              <a:pPr/>
              <a:t>7/10/2017</a:t>
            </a:fld>
            <a:endParaRPr lang="en-US" dirty="0">
              <a:latin typeface="Avenir LT Std 35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venir LT Std 35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F548AF-9D1B-4FA7-A072-23DB0BA1B20E}" type="slidenum">
              <a:rPr lang="en-US" smtClean="0">
                <a:latin typeface="Avenir LT Std 35 Light"/>
              </a:rPr>
              <a:pPr/>
              <a:t>‹#›</a:t>
            </a:fld>
            <a:endParaRPr lang="en-US" dirty="0">
              <a:latin typeface="Avenir LT Std 35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7075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LT Std 35 Light"/>
              </a:defRPr>
            </a:lvl1pPr>
          </a:lstStyle>
          <a:p>
            <a:fld id="{8A01F283-6A2C-4BDA-B0E6-041D901AB7CE}" type="datetimeFigureOut">
              <a:rPr lang="en-GB" smtClean="0"/>
              <a:pPr/>
              <a:t>10/07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LT Std 35 Ligh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LT Std 35 Light"/>
              </a:defRPr>
            </a:lvl1pPr>
          </a:lstStyle>
          <a:p>
            <a:fld id="{2A45E9E0-E2DF-455A-8CF0-BA7CD71D58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239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1pPr>
    <a:lvl2pPr marL="457154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2pPr>
    <a:lvl3pPr marL="914306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3pPr>
    <a:lvl4pPr marL="1371460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4pPr>
    <a:lvl5pPr marL="1828612" algn="l" defTabSz="914306" rtl="0" eaLnBrk="1" latinLnBrk="0" hangingPunct="1">
      <a:defRPr sz="1200" kern="1200">
        <a:solidFill>
          <a:schemeClr val="tx1"/>
        </a:solidFill>
        <a:latin typeface="Avenir LT Std 35 Light"/>
        <a:ea typeface="+mn-ea"/>
        <a:cs typeface="+mn-cs"/>
      </a:defRPr>
    </a:lvl5pPr>
    <a:lvl6pPr marL="228576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19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2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26" algn="l" defTabSz="9143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12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199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86801"/>
            <a:ext cx="6597502" cy="1121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92100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74700"/>
            <a:ext cx="6597502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 userDrawn="1"/>
        </p:nvGrpSpPr>
        <p:grpSpPr>
          <a:xfrm>
            <a:off x="7514711" y="577850"/>
            <a:ext cx="1050204" cy="41148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833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991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3"/>
            <a:ext cx="8380413" cy="761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1428750"/>
            <a:ext cx="5375275" cy="3048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6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8" y="1797051"/>
            <a:ext cx="4149725" cy="282646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341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7145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71500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84017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383967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991991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91940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4202235"/>
            <a:ext cx="8380413" cy="7239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0" y="3802184"/>
            <a:ext cx="8380413" cy="4000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87381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2270760" y="3044209"/>
            <a:ext cx="2301240" cy="21145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6854952" y="3044194"/>
            <a:ext cx="2273808" cy="2099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572000" y="938220"/>
            <a:ext cx="2282952" cy="2105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938216"/>
            <a:ext cx="2286000" cy="20907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023775"/>
            <a:ext cx="2286000" cy="340043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938216"/>
            <a:ext cx="2286000" cy="209073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1885950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3028950"/>
            <a:ext cx="2286000" cy="2114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3989071"/>
            <a:ext cx="2286000" cy="4829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365884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3535680"/>
            <a:ext cx="2286000" cy="32004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058972"/>
            <a:ext cx="2286000" cy="3048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3176271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3174577"/>
            <a:ext cx="2286000" cy="36576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EMPHASIS</a:t>
            </a:r>
            <a:endParaRPr lang="en-GB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285750"/>
            <a:ext cx="40386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Headline</a:t>
            </a:r>
            <a:endParaRPr lang="en-GB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421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/>
              <a:t>Place your picture 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6" y="1211418"/>
            <a:ext cx="4340225" cy="2620963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13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7260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0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1985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039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4394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063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169863"/>
            <a:ext cx="8377238" cy="954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6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8" y="121100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6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8" y="3082025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416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186801"/>
            <a:ext cx="7410450" cy="1121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3692099"/>
            <a:ext cx="6477000" cy="4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774700"/>
            <a:ext cx="7410450" cy="137795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7" y="4406902"/>
            <a:ext cx="7616919" cy="311150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5294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1906074"/>
            <a:ext cx="4129232" cy="21507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421905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8" y="1379381"/>
            <a:ext cx="8392745" cy="457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1906073"/>
            <a:ext cx="4192724" cy="215077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34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365250"/>
            <a:ext cx="4292600" cy="16383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4050280"/>
            <a:ext cx="6477000" cy="429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3070224"/>
            <a:ext cx="7308850" cy="7461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428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504950"/>
            <a:ext cx="3733800" cy="22098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3106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1537639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1488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23758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298702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321405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3844275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4071302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472414"/>
            <a:ext cx="3657600" cy="227027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699438"/>
            <a:ext cx="3657600" cy="380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00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3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1857378"/>
            <a:ext cx="2209800" cy="20228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096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</a:t>
            </a:r>
            <a:br>
              <a:rPr lang="en-GB" dirty="0"/>
            </a:br>
            <a:r>
              <a:rPr lang="en-GB" dirty="0"/>
              <a:t>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</a:t>
            </a:r>
            <a:br>
              <a:rPr lang="en-GB" dirty="0"/>
            </a:br>
            <a:r>
              <a:rPr lang="en-GB" dirty="0"/>
              <a:t>this instruction box</a:t>
            </a:r>
          </a:p>
        </p:txBody>
      </p:sp>
    </p:spTree>
    <p:extLst>
      <p:ext uri="{BB962C8B-B14F-4D97-AF65-F5344CB8AC3E}">
        <p14:creationId xmlns:p14="http://schemas.microsoft.com/office/powerpoint/2010/main" val="2703294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356590"/>
            <a:ext cx="6972880" cy="3647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/>
              <a:t>CLICK TO ADD QUOTE OR KEY MESSAGE 10-15 WORDS 5 LINES MAX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1" y="869951"/>
            <a:ext cx="5375275" cy="4479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58331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67743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9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169862"/>
            <a:ext cx="8380413" cy="400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69912"/>
            <a:ext cx="8380413" cy="761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313421" y="4933950"/>
            <a:ext cx="447993" cy="209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4668680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6" y="25401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281234" y="5123"/>
            <a:ext cx="480178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705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66611833"/>
              </p:ext>
            </p:ext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955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203326"/>
            <a:ext cx="8377238" cy="339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5" y="4977170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1803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hf sldNum="0" hd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1.xml"/><Relationship Id="rId7" Type="http://schemas.openxmlformats.org/officeDocument/2006/relationships/image" Target="../media/image8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13126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 err="1">
                <a:latin typeface="+mn-lt"/>
              </a:rPr>
              <a:t>july</a:t>
            </a:r>
            <a:r>
              <a:rPr lang="en-US" dirty="0">
                <a:latin typeface="+mn-lt"/>
              </a:rPr>
              <a:t>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774700"/>
            <a:ext cx="8799576" cy="1377950"/>
          </a:xfrm>
        </p:spPr>
        <p:txBody>
          <a:bodyPr/>
          <a:lstStyle/>
          <a:p>
            <a:r>
              <a:rPr lang="en-IN" sz="3800" b="1" dirty="0">
                <a:latin typeface="+mj-lt"/>
              </a:rPr>
              <a:t>Geo location analytics ideas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47528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5" name="AutoShape 9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0503" y="20778"/>
            <a:ext cx="9112499" cy="464147"/>
          </a:xfrm>
          <a:solidFill>
            <a:schemeClr val="accent1">
              <a:lumMod val="50000"/>
            </a:schemeClr>
          </a:solidFill>
        </p:spPr>
        <p:txBody>
          <a:bodyPr lIns="0" tIns="0" rIns="0" bIns="45716"/>
          <a:lstStyle/>
          <a:p>
            <a:r>
              <a:rPr lang="en-US" dirty="0">
                <a:solidFill>
                  <a:schemeClr val="bg1"/>
                </a:solidFill>
                <a:latin typeface="+mn-lt"/>
              </a:rPr>
              <a:t>Geo-location Analytics : State-wis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9200" y="565266"/>
            <a:ext cx="3836442" cy="215888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27384" y="1036186"/>
            <a:ext cx="3806686" cy="16344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Reporting of main business metrics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Sales Volume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Ticket Size of transactions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Activation Rate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Reactivation Rate 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Discount percent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Top trending produ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Details of specific counties with exceptional sa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4313" y="4839796"/>
            <a:ext cx="44924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0070C0"/>
                </a:solidFill>
              </a:rPr>
              <a:t>Graphs are only for example, numbers are directiona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8126" y="2743468"/>
            <a:ext cx="3817516" cy="209632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7688" y="613276"/>
            <a:ext cx="2905091" cy="301109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Ideas can be implemented over dashboar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0638" y="3275802"/>
            <a:ext cx="3793432" cy="78319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Critical markets and their trends by forecas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Build analytical models to stop negative tren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Run region specific campaig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Understand the brand loyalties across geographi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0942" y="2852892"/>
            <a:ext cx="2531214" cy="301109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Predictive model across geographies</a:t>
            </a:r>
          </a:p>
        </p:txBody>
      </p:sp>
    </p:spTree>
    <p:extLst>
      <p:ext uri="{BB962C8B-B14F-4D97-AF65-F5344CB8AC3E}">
        <p14:creationId xmlns:p14="http://schemas.microsoft.com/office/powerpoint/2010/main" val="15463726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5" name="AutoShape 9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1" descr="data:image/png;base64,iVBORw0KGgoAAAANSUhEUgAAArwAAAGwCAMAAAB8TkaXAAACXlBMVEUAAAAg/QAn/AAr+wAv+gAy+gA6+AA++ABB9wBF9gBG+ABM9QBQ9ABU8wBX8wBd8QBf8QBh8ABi8ABj8ABm7gBm7wBn7wBo7gBq7QBr7QBs7ABs7QBw6wBx6wBy6wBz6gB16QB55wB56AB65wB85wB95gB/5AB/5QCA5ACB5ACC4wCE4gCG4QCH4ACI4ACJ3wCK3gCM3gCN3QCO3ACO3QCP2wCQ2wCS2gCT2QCT2gCU2QCV2ACW1wCW2ACY1gCZ1QCZ1gCa1ACb1QCc1ACd0wCe0gCf0gCg0QCh0ACi0ACjzwCkzgClzQCmzQCoygCoywCpygCqyQCsxwCtxwCuxgCvxQCxwwCxxACywgCzwQC1wAC2vgC2vwC3vgC5vAC6uwC7ugC9uAC+twC/tgDAtQDBtADCsgDCswDEsADEsQDFrwDGrwDHrQDIqwDIrADJqwDKqQDLpwDLqADMpwDNpQDOpADPogDPowDQoQDRoADSngDSnwDTnQDUmwDUnADVmgDWmADXlgDXlwDYlgDZkwDZlADakgDbkQDcjgDcjwDdjADdjQDeiwDfiQDfigDgiADhhQDhhgDigwDihADjgQDkfwDkgADlfgDmewDmfADneQDnegDodwDpdQDpdgDqcgDqdADrbwDrcQDr6+vsbgDtawDtbADuaADuagDvZQDvZgDwYgDwZADxXwDxYADyXADyXQDzVwDzWQD0VQD0VgD1UAD1UgD2TQD2TwD3RwD3SQD3SgD4RQD5PAD5PgD5QAD6NQD6OQD7MAD7MwD8KgD8LgD9JQD9JwD/AAD///9teKjPAAAACXBIWXMAAA7DAAAOwwHHb6hkAAAgAElEQVR4nO3dh78kx1EH8CLnZDBwYAPvgQ8Mwod1AiGOO4x4GETOGYwBEUXOOeecc1xyzjlHvf+KnZw6VHdVT3fP/sofyXfvtqe2d76qq+kJS7cIRKVBud8AAhEbwIuoNoAXUW0AL6LaAF5EtQG8iGpjhvekHgk2WUAqTCt3KuCtIhemZRwOvDXkwrSMw4G3hlyYlnE48NaQC9MyDgfeGnJhWsbhwFtDLkzLOBx4a8iFaRmHb/EiEHUFKm/RuTAt43DgrSEXpmUcDrw15MK0jMOBt4ZcmJZxOPDWkAvTMg4H3hpyYVrG4cBbQy5MyzgceHfNRUR7pYqNevYW8O6bi+7di+Fb+rTypALefXOd8d4DXqVUwLtvLuBVTAW8++YCXsVUWngJwYt7UXqB1zhcBy/RlSDoxUPQdeaglylFq9QSwKuTCngT4XXpBV6dVIptA/AC776pdPASifQeE69LLwUu9gKvcbgC3vZARNI5XBzeATCNH5/HMvAah8vx9h898K7wuu0O/UNv3OMXeI3DdSpvKxh4Q/Hem5Vn4A0fHo53+yETet5IvKs2ItVeDooj4zV/yKi8UryNX8uHC7yW4RGV96xt8xGTRC/wjngX7cP0S+A1Do/Ce9X5XX3OwCvEe687eTx8rDRBBl7j8PC2YTJ3NZyw7/66A14p3sFwt3pzr19PC14VlsWR8RqMjh8x8GrpXa0S7yn4wvCONRh4dfCaPMfdghERh8Zrbg90Dtiy61XEq6t3v9bh4Hg3SmVdwxxvbr1l4t216T023q1eTbx59WriVdLbyMVqg3F4DN5N4yC8MmeON3PtLQ5vV3OB1zhcAW9Tc4HXhFesd2gXgNc4fIuXEUunRLLjtcPiFZdePPKbFYFXla3wtnw1TlIAr6HsmktUsrMXGSpv5DwU8E6n2XTwZtVbEN75Dt3slPPn/fDhUfDSnTvDGfGgCcXiXeiVnaLY4M2ptxy8i7243ilnuY3dgB3Nj3x4z4ZGxqzhcXiNpVcNb8b1smLwLvfhcqf0ZZe/l4Nid7xnsXc6QXfutL9kD1fDG03XgDdf8S0F72oHLnYKdXWXu4tDY2+8Hdl5cKcWi3feOEjtmvDm0lsI3vXuu1188knt7o13a5ddewV453wldM14M+ktAa/hqOV2/rEn7HcXudLHrdEuu/RK8MrEevFm0auLN+6KdJp9xtNe7n/ysAv7HUPi2BWv0e4OeNXsmvHmKb35Ky9Nq0Y3NxPe7sDi4RA0rJUFg/GT0N+kNZXZbnq80l7BizeL3tx4J7o355gq78xth3dEbN1BsbIvAa9i32DBm6NzyIx3vCflpo1ZA/HQEuZbYfvCzDS0IhE1KiosduvveTu9tDPgvHjbTuFmjL54kp3uWu/ypcBrTbwD3v2bh7wHbDO4nd4OsINuT5T6XbL9k/AAXjW8VVdeKd6hALvxNrxXx3NjUV4+oIBHIuzlkjg83l3tFon3zNdde1uoD03GO9KlPk7VZneXnleL73HxBuoV4HXCDiK1G16r3T0qr/iaBgbevRccysR7Y+wKKsdrt7sfXgW+ZNcLvEvCcXiD9F4C3rPep89x/recrwPvvnbV8Ybp9eC94Sw+DF6j9V4G3qeHCMXbF+ypcANvZ9ePd2gh/I3CeAI5VO8l4KUJL7P2jl77MePgktoG9Qigy7Lb8rVV4CHpsI/6C3hmP2KQYL9SFqXg9dfezux8yCKKKb30EuVg4+XKnRFedAnN/zaHZgV/wzxlxfs0F+9YbB1hq767tw3adrl4g+0uDt+60xSmCx1CPPUkwofEhMPurj3vCi/N1F4x4DqKb9c17ChYGS/fbjjeWe1t24Jta2D07CcROiAqXIU3E96upR3arKcdjYKh9toqL+3Y+eriDWh4I+yOepvDM9Nd4zTI5ps67YTXaZd7H5AWXuqq7OwHbLWu0ksd3v26h2x4o/ROeE+Gb2madRXcfdqSCHlxZDjpdnwZ71npgK3TF+zVZ7dVS3suOmi3DWy9UbXXvQ62vO+CDWsHvF67vOKrVHkVwnY7Be164Jar543E6yyry9U0Nt/0eMndNLDbXqXVhmR291510F8qS7fc0C842OrueimYW31T423ockov452WUnmPipfbOcQdsd30eA0Ha8YLJDn7NSXe/kjeTzd15VXF67G7m97K8I52V/uaTsYTyPnxnj9hhtxWr/8/tVLaBi/enfRWhveGzHYteFl6y8Hre7eF4PXb3UlvbXhvyHCTO9nwsvqGhHjbhU8mXkbrYMDLjILwSq+dmUdleOm84+hmsffodnOsNuIN3stsDbwIw3uH+X6rrrz0hmpRGd62abiZV6jWrRUvZ8fGVF6iB+sw7a4wvN6+oQy8HLvNiQqL34vF2/cMi31MD8erePdqGwx0jXi7C1UOhtdxPe9Sr6H6Nn8VXSrexu7Nzc3SrgtvmgM2E1073iC9nncai1dxpYxH19w6tKCPgDdGL3V2l12DWW06vMayq4B3cxhqeKf5K2+AXQPeFx8Fb8TV6N3j+DZNw654LXSleDfdkPGdRldeLbtBeAe90/Fr204cAm/AfUA93u5JksvdsjNeq91wvDT+mwO3fafV4R3NTj87CN64CyPrwUsuvM1OvTNUJGby/D1vkN0Xk+ng7jB4w6uv6XBtR7y2hteEd7is1fYw9J7tLniV7IbqNYo+Dt57wb1vUMurjNdOd423P0PhwdttlJ2+BLzGagq8EXi9j5NkkWDjcdld45390mzXcImG953mx/u0uPgeDG9Q50ABeJkkmAAcLUNjNxxvcBSBF5V3zTfSLguvd/WUCcBFd9PyevDu+sXZwJsSbwBfdsc7HAf574ZXqrzGgzWj3pAFhuU7LQEv2oZovXy8vbgOspMEE0AQ3msrXmIv627faSTekuweES9Xbxjeoa/YAe9SrwVv2LLu9p0Cb5l4mYsO3FMUtPhzHbz8ppeMeEVw23cKvMfB66m8s2vNXGbYF7cE4L024D3DvQXeQ+LlPqt3sVNceBd3BqXHOy+265WHcXVMeMcR8BaKl1d5Qy5s4H69oBbekez6cUc0NA2Z8O5963C1eJn3dplCG++qibCTYAHwHa/N+ob1VQ40npYA3sLxcp4Zb36qccF4vXILxqv7wJEj431J/JfNMPCuH9egj3f+V8Hsp366Hrzd1vLgVbULvLF6N0+T1sW7bA1mjDl27XgbvbRKFRXAmxpvytLreCRvvN4Z3jVHFlrgPQze+NIb3jb4L0aX4Q0LB96hBcmBV9nuofFGV17OAduWYBV4r4E3DV5JqBbeqMqrjFekl6x2r2mTKiqAd4X38fgw8q0Zr6z0WvFO6xYZ8CovlB0Gb+t3Oi+xA97oIzbuUplErxnv+YN5JideVF5n9Z1+RaKVsrgjNlW8or5h0VFNdp95JjPeA682CPGuIJNgpYxzzBaHl5wXc6kdsD0zi1Fx95tNqqjAUlk6vI1fUen1843CS0y8inZXkW61gRHAu5/eVdy03wE0xmbPcPCy9jb3RFoE3u3blgUqbxq8j4v6hjPeV6zibGr+u/WOYXUNnnrWbkhI14GXsq42AG+QXhHeK9rwfYUQr/eptydpx+AuvLRMJQjgLRyvofja7TLwMh4cqmHXhZfmqSQBvKnxivW6am/4NZH+m8ZuxR2DDy9WGy4Gr0tv+MXoPrxnWU+mxTvrHHAnRfF4EzYOAU8q43UNjV0NvE67nd5mrSQebhOReBdX2OePovGm1TvfJ2K8jdxzhH78JryWmLW9zW8Fck8CvM8GBL2rLHzffVk43r26Xk7H6+BCPd3wMOill22CHnvssYVew9d9h0Vs2xBiF3iTFd4ZXs516FYsTRW8fz8a77b4WvA+RrO+Qaw3Fi8q7356nUu9NO4RY3DwtnCbiMXb8A3FG/YAf1W8YXovHa/2WbbtIduZwVOm2GA27sv796V4N52DDW/XODT/av8R2RU84hR4d8LrtNueL7bRPeO9P4+mM9j6nV6THi/Rufa2B26O/5iAtyS8orbBfX74jNfi1oC3E7oiM3tJcrzU4G3y9+8BlbcCvNF6yUc3HO+ot69993XwErPydtkz3oAJvLvgZciNw3t/rVaOd73isMXbFt1hfQGVtya8MXo5dCPw2kOC90k73ulocfhKFwLeivDGlF6e3XLwPjfnS0u2tIA6M5wFL5bK0uOtqvISPffcxJeoo+vTJ7KL08Pl4mXW3lLwPtdGx5f6ojsUOhtiHLC58ZpOO40/X74GeIWFd+I78+o6PwK83bcy28L6+tlA/2bkeJMdsRWBd6Tb8n3QtbiLT9CsLw/eotoGs+iYQbZtZSm9vKa3DLxzvSPYvv1tMReEt6yryirAe/DVho3dcdWBHtjKLvACbwl454V3UXOtDQPw7oU3T89bE96F3eYJ6u5eNyveMLvV41XpeYOCeWpYFS9F30kxr7wTWsYZCOBNj1dj/YzoCX4Qt+yqVt54vFPtpen6BY4+gdwT8O6G9/EQvE+w626BeANO+QJvJXgD9VaG98l548DXFw+3HQ68u+EN0Mu3WwzemV6+vni47fDI1YaLOkmhdM64cLx0LbwkMthutjNsJZ0eTo13f73AyxoeibeoaxuANz/e2ZU5Afri0I7Dt3h5EVJ668erFuXiJRHe+fFaKCVxBFfekMahfrzrB8LEBj3B9MvXq4b3WoB3cYotoHRGFdxpeDTegMYBeCe9vOqbYZ03Em//N8oMb4i+CLHz4fF4+XqBd8G3yMrbfFwReImef355MS/wHhcvt+1l69XCS3Gt/fOLS3nDCi/w1oaXZ5evVwfv+pYTetQGUfMPtawfmWKNN+x+YOC1gdNQO2xrf7tsvUp41zMe8NLA2oD3DHqFN/BeduC1gROCXWxLDS+7bWAftGng3d7qR53c9pfdH25Lb/vIsRXeQH2BWtfDgZezLT286nrFeGlTdq9bvE230P265bvG2xbltvJGXZPT6QvUuh4OvJxtKeJV7hysTzfl4iXjJ0WPZt/Ufn7P12u9NOCd6w19AA7w2sDFSjVtKxNehl6nXT9eMj8c4Hr24+5BDNftrZQzuqf2d2e8k97ghzdlxMvWC7wLvPyzxDvg9X96/UNw2hvTFngfDXjbRzQE9wwn4LWDixlk25Ym3gch62U+vZ6uoQ1n4WVPfoH30aLythZiHpoHvLbPPGaQe/9lwCurvP1qgVWutfBa5j6t9i7bhsZCeNMAvPYPPWYQYwfuiveslzzV16V3WKK1Hqp5Ky+tHnk+nK2Y432++0rAGH0RY+bDJXj30nvJeMnTPDj7hmGJ1tYyeD8j09cD9mfd5nhjH7ObF+8+ei8Yr797cOCl8fyC8SH+jI/QhHcsvCPeaL1Z8e6k99LxOvsG6xewPbX4BBq91BVcYuKldc9gxft8lXj36RyAN7jw0uYDGK6vGbuImJ5hXHFol8ceSUtvLXifpXi+wBvc8lpmPzyV2LNK1p8Pttvt8M6a3jrxBtwOFK33wvHGdLzu2ZOn8FJzPthhl2hVeSP7hux4dzhNfNl4nWsNzlUGx4Tci2TtQ3WNeMdLfGl+0WS1lXeH2nvheKM6XsmHY59ufzlOv1Q2O2cRqS9u2DhcAW/yWzGBN6jh9Z96iMb7oKvJzTVn3XdOHABvq5dFOOqw7Wh4tVrejd1WM+t6BcFspz6B5i1wlL64YeNwtcrbTChR8b1svHa9a7zU4WXMx93w+t7+Wm+dZ9j6aNUSt/kN13vheG16N11Ds5DLwuv8cDiTHQ7RDoGX2srLoRvTOlw63ifMF+e0dmmsuk8Nd6/LPh3jKsMSbvuvYc/HrzWUgffUz4KJN7j4Xjxes95BDrV9LlPtMCPri/1zpYkvub+qyqsvdmA/XAlvX37T6AXeJ8jQO3QnfK+nOyQVPh5v3e30Pphq71HwptILvK1fE97oudruXeNNYPxWS0HPcCoLb8hDe0P0Aq9Jb1il3c7J+EPmTKcDNutXs7L0CcaeVPEGHLIF6gVeI17hnIz4Q/E+OAreZHqB14RXqtfUOTC7hgfD8ZrMbrYno28jnV7g3erlrom5ZrXaguViHMP7776f9bzLH2R4Dvo25JU39PutAvQC7xqvXO74IJzhd+2iF3cC/RqDrOMtqG2IwMvVC7ydXVLrGPo5TU/S4xbd9u33J4jjntWw0CccnhUvU2/crlLUWxDe7nSFQsfQzal/jFPIBKezagfCm04v8E562yopX2qYUQx/+12LEfmshoU+4XBNvKn0Au+od7yXXTQd6XxGvTJ8JeFNppfUImgXz/e2bkjxykJsd+h5xVES3sBTxGy99MqYoJeu4vyDSGxXuhGNt/GrgFdqd35Jr0yfcLgq3lNU9fXqVcIbGNpkVfDKSy/JC++DoXE4UtvQRoIVM+DVxKtAdyQstHIEvD69wKuFV6fsHhVv1DGbTy/wjnRpKdETPrkkxHygdd4m4ux69ALvQHeJl1NoPbpdf9jxnEPfhlCfcHgheJ16o/BK7TJWJqLxBseEdx6iDqLn7Xmb05s1v0CoTzi8FLyu2zIz4b3riXi8LwqMAa+C1gC8/nkcDK9Ar734Am8iu7F/ewyjpHqLw5tA79HwButNhjf2/Q90D4Y3hd5Lx9v1vOXY7fAqHLEVh1dRb/fxZFpsKAdvvzihi1d2xDk76BTpk0lLgFdPb6v2/PlcNt7BruZVciQ9UrsaH5kj0ieDlgKv5KBtoTdO7eHwKq6M9XQFRbd7/6f+PgqS6S0Sbwl6S8Ybvt7QGFazK4Lbvv35ErBEn8xZErxqeoFX366sYVgZvpLpLRKvqHGY6QVebbvShsGAV6JPpiwVXh29wKuMV/W6+q5zEOmTKUuEV6n2Aq8iXtLsGIZ5HG2dtw8NvcCrZrf9K14H7HDJzvFOD49BCkdtwNvT1bCrFdNlZse7DWgKhdor0Au8c7tqdK/mV3RKhRwVb6cXeDu94sKrR/fqql8fU7j3vWS8cr3Aq4DXeEJNeIpN4aENp6LxKugF3g6v7AE5Bnub4L/1C8ErbByejb0m52h4pbcMb+W+YBUBeocTwxo+ynm4tCGEeJ/FakNnVzXWcHu+/Pc+RBIyMVFk5QXeDu9bG4Pe3hr0clvY7Mbolfsou23IqPcweCkcr1WvlW4I3l6wgo+y8QrtAm/TM5jtquNlHL5Rd0GD8FqyKY6NV6D3MHgtdmPw2puGjWTz2ybFnuF0eLzxeoFXotfcRUy3/+hE2Xgzlt4d8O5xH5DVbhReoV61kttH0XiH77Q/Jt5ebwzhbHhfbl8s8+tVpls83i6JhHCs3h3w3nUf3ijgtR+uxeJ1H7U58WrTrQRv+++d9e6B96z3LsX0vmy8VrpuvE697KO21XtOBSN++H54Y4/fin1uwyg4FV5X3RXgjdQLvAervFPz0PS+ASepmHhj7ergXehNYLcqvDF3V0Rfm7Mf3gHwFb//zYs3Rq9+w3uqDG/46kP8dWX74m0B32Uvn7HwOu3K8IbrTWG3NrxthOCNtZsBb1+CxxsdV5Bp9qPkeLVK7wvGueizqBMvX2/R1zZY8DYrEGMXMe77Lu72P+HhddmV4Q2pvYqng70wAodnwstsHerD26yedUto0yIw0WxbbLzuwivEy9Wbiq0FRuDwPHi5ja/gVopceBeI+6WI1R8QB697nUyMl9c5JKVbKd42OHorrLxbxQbXBeDl6E1Lt2q8jOJbceV1g25D0jUo4PXqTVx3a8bLqb1HqLx2wXnx+mtvartV4/Ve7lD2PWyp8YraBgW9ye3WjdejV3Ln+wHwiuyK8aZdZ/DB4A3Pi9et96Lxys5RMPE672nThxAAgzU8M1533wu8afG69epDCIHBGZ4br1PvJePdo21wNQ6ovH0S1x+m6htqxys7O8zFa629e9g9Nt4KL8wJwesOp101vGa9u9A9AN5UXW8FeF/oCg9fL15J6d3Jbv14L7jyOvG+UNg28EvvRu5edg+A16H34D2vB+8+ldeEV59ABAzG8Ox4TXqnxg94Y+3y+4ZMPcPpQHjnxyrDn8TTBd64pnfHnuF0BLwn66X6wCvDG6yXmjMTCQDYougnowvj6KeHE+Nld71t50Bt2c29y6MiZ+V1xFGv5+XgdS43pMEr3FvBcYC2wRnRB23143XpTYB3aN2Ad5lENjzOb/14XX0DD2/Iatl41AG8yyTiLUT4rR6v8xSb5gFbv1oGvOYkGhsJ5XsAvMKel2335YvlHuBdJtHZTNhJi/rxOuwq4235Ku8tTlwQ3ib4fO14PVdzjZEcr1Ov9OxwKN4Ue8sXF4aXz9eBN7VKbrj0Sq9Fj7YLvKskupvj8SVHoc2tdohy8KbbW664QLy8xYcJr2l8brZd2PFKb3wPw0vAa0+iv0m/Xxfe8/Dcbtuw4vXdR6G92pB6b1niUvGefO0D8PKXeYHXkUR/k124+LrxlqHXesTmswu87fCq8bq6Bx/eMvSWgHd1OSrwLpPob3IW3vVa67DcdO/a9Hq7Bt2L0YHXlUR/kxqpCtBr6Rt2xhv/EQoDeONT5cdr0eu1q4h38zdTqXvLMPyS8RZRe4E3fvhF4y2g+KbEG6e34L21Hg68JeI1hRmv81AVlVceJX8cufV67wUyV+MJ77U9gFchiv448up1XxZp7yRoLLwSvM0LNiuJRe+t5fCLx5v3qC2y8LZ4iXyV1/c1mNdNa4HK606iv0nVVBn5ivE6a6+nAabuJRofYVwAr0KqbHrZdg14G5Bd10vO5sEuuRsFvO4k+ptUTlUB3s0BG516uy3LgSdD8fBS4GUl0d+kcqry8U56219MeLvKOwVTb3M4B7ycJPqb1E6VSS8LL3VLEtS6XVxwRNNCbzuJMLz9a3GSwp1Ef5PaqQrG2yod8PbQqPvn3PSuDrgakVzAw8uA15lEf5PqqfLo5SzztlDbU2wrZZbrPUOqL/D6k+hvUj1VsXhbn7dDn8B58nNQ8wC8viT6m1RPlQkvt22YNbqMuSz1+lrhI+G9zCgXb3fERnTbNr68ySztbn60wpv0g90hUHnLtTsAbvFyp0OTXVr9xFN6a9hb/XDg7cJ6ko30T78NGzR2vLY2uLMbirftOZY/At6wJPqb1E9lITp2nHe1EE//NdB44e68vs5/vwHMno3hugXgjUqiv0n9VEaa0yFSB1iFLq233Wx90nn+x3ZbZsBsDId31tKL5za4kuhvMkEqA83N3tfA2ydaL9rOgFruygz6hjTzc4I4pbeOvdUOB94xtjTXAjTw2r53br4WZmwcFL7cD3gjkuhvMkmqdWXdCNPoHOjEKKFrvd1imWRu/WaBNziJ/ibTpFrZNJ17VcHLeiu0whvYN1i26tdbzd4C3mUs9Rq/UlaOl/teOrZ9J9zxlc2u3SrwBibR32SyVLPOwFzohJ0D3x+Ni2fDYRz39LB7fsAblkR/kwlTefDKam+Avr7WztpdldbBfJ0DvpPCmkR/kylT9cXXpkRSegPpUV9y+2mplF5z8QVeaxL9TaZN1Z1Qs/6pAG/kG+qnRebl29Aw4cVXWdmS6G8ycSp3iYvWG01vqLzJ8F4Dry2J/iazporEK/grX3lazr6hnr0FvBER1/VKimZ6vJPeevYW8MYEG2/TO7dXQAqPtHaovMBrSaK/ybyp+JU36PYde6DyGocDb0wElF7yHP2xAniNw4E3JphdL/V4xfmA1zgceKOChVenZWgCeI3DgTcq+HhVlmZ1p+W+vqGevQW8ccHqG1SKbhvKeE12gdeSRH+T2VP58eo0DF0Ar3E48EaGr/Zq2t0F76C3nr0FvNHhxqsHtwngNQ4H3thwl96C8doeggq8xiT6mywg1Z6lVxev7cl7pJ/LHcCbK9XJ/nA+pdXdWSrNjQFvUBL9TRaQqnlorl2vcirVrTWLz/aut569BbySXPbGQVkv8BqHA68kl+PZktqpVMP16Jx69hbwCnPZHi6ZIJVe2B+5p5/LFfp4ESFheMBZe/F57vflDDve3O8sKlB5I3OZni3Z/C9BKr04buXVeV+LJPqbLCCVHa/yOtlpv5630VvP3gJeYS7DIRvwcgN4c6UaHqaww/Ga/rQcfUM9ewt4pblMeIuvvHa8VNHeAl5hLuNKbwV47Xrr2VvAK81lxJsmlWZYvxYTeFdJ9DdZQKoBr2m9IU0q1bB9pSvwrpLob7KAVEMu4I0O4M2VyoG3/NWGJoCXlUR/kwWkGnPtUHqB1zgceMW5TOcpEqVSDeBlJdHfZAGpplyV4jXrBd5VEv1NFpBqhnejtw685sc+1bO3gFchl+FLtcu+qmwM04N669lbwKuUC3gjAnhzpVrlWlbfwm8DGgJ4/Un0N1lAqm2uhd60qZRiixfXNqyT6G+ygFSGXMMDedVL7454K9pbwKufC3i5Aby5Ujlyqd9LkWxamyscgHedRH+TBaQ6yLSWenEx+iaJ/iYLSHWYaRHwupLob7KAVIeZ1gJvTdMC3ipypU1F88Jb0bSAt4pcifHSrPBWNC3grSJX4lTA60iiv8kCUh1oWmPpBd5tEv1NFpDqQNMa7iQm4N0m0d9kAakONK0Ob39mpZ5pAW8VuZL3vLMvSa5nWsBbRa7UqeZns+uZlgEvAlFXoPIWnQvTMg4H3hpyYVrG4cBbQy5MyzgceGvIhWkZhwNvDbkwLeNw4K0hF6ZlHA68NeTCtIzDgbeGXJiWcTjw1pAL0zIOB94acmFaxuHAW0MuTMs4HHhryIVpGYcDbw25MC3jcOCtIRemZRy+xYtA1BXAi6g2gBdRbQAvotoAXkS1AbyIagN4EdUG8CKqDeBFVBvAi6g2gBdRbQAvotoAXkS1AbyIagN4EdUG8CKqDeBFVBvAi6g2gBdRbQAvotoAXkS1AbyIagN4EdUG8CKqDeBFVBvAi6g2gDcgXqOP13yt136d132913+DN3rjN3nTN3vzt3jLt3qbt327F73DO67uLnIAAAKwSURBVL7T9Tu/y0ve7aXv/h6Pvee997q9/97v877v9+D9H33AB37QB7/yQz70wz78Iz7yoz/qYz724z7+Ez7xkz/pUz710z7j0z/zs171qs9+9as/53M/79kv+Pwv+sIv/pLbL/vSL/+Kr/rKr/6ar/36r/uGb/zmb/qWb/vWb/+O7/rO7/7e7/m+7//BH/jhH/qRH/vRH//Jn/jpn/qZn/vZn//FX/jlX/qVX/vV37j9rd/87d/9nd//vT/8gz/+oz/9kz//s7/8i7/+q7/9m7//u3/6x3/453/713/5j3//r//8n//+v/9tI/fnpx3AGxDAW1YAb0CE4H08Au9zEXh/HXgRnADesgJ4AwJ4ywrgDQjgLSuANyCAt6wA3oAA3rICeAMCS2VlxYXhJf+MHS8B3rLi8vAqvARRRlzYrgLeI8UhdxXdEjV/+1M7O5r+f+gJ+h/R8JJx4OYl4/8jyotD7phOZsezm+Eocvmj/iXjOMNLbm8P+iEdIA65X2j+L+P/3xplzl5C8x8hyoxD7pwlXur+5l8iXvxoPW4s3Af9fI4Sh9w528q7+v2qo1iP692umgpEaXHInePDa2tobZ0Fosw45M6x9ryzozFb2yA7YJuWJmZLHHuMOeiedMchp7zAa1kqM8qULpVNjcasMfEMVxkz9ugXFRc45YSxdMfrOoxj2HiH3wEvQhgGiF5UOnjpEvfkBU55E0TDcpp4S7ezT3TRWfPGjAscoWOAFyGNLd7b8CoaOeYC9+QFTjlhLCri+geMMfF4L/ISjMubccqYoaL1D/xjRKsNl7gnL3DKKWO4Wm0shew129mLY8Zc5J68wCkjjhLAi6g2gBdRbQAvotoAXkS1AbyIagN4EdUG8CKqDeBFVBvAi6g2gBdRbQAvotoAXkS1AbyIauP/AebmRmdNsVePAAAAAElFTkSuQmCC"/>
          <p:cNvSpPr>
            <a:spLocks noChangeAspect="1" noChangeArrowheads="1"/>
          </p:cNvSpPr>
          <p:nvPr/>
        </p:nvSpPr>
        <p:spPr bwMode="auto">
          <a:xfrm>
            <a:off x="4572000" y="25717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0503" y="20778"/>
            <a:ext cx="9112499" cy="464147"/>
          </a:xfrm>
          <a:solidFill>
            <a:schemeClr val="accent1">
              <a:lumMod val="50000"/>
            </a:schemeClr>
          </a:solidFill>
        </p:spPr>
        <p:txBody>
          <a:bodyPr lIns="0" tIns="0" rIns="0" bIns="45716"/>
          <a:lstStyle/>
          <a:p>
            <a:r>
              <a:rPr lang="en-US" dirty="0">
                <a:solidFill>
                  <a:schemeClr val="bg1"/>
                </a:solidFill>
                <a:latin typeface="+mn-lt"/>
              </a:rPr>
              <a:t>Geo-location Analytics : Major market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3574" y="995502"/>
            <a:ext cx="5297061" cy="316899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864090" y="1351722"/>
            <a:ext cx="2698708" cy="16344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Reporting of main business metrics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Sales Volume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Ticket Size of </a:t>
            </a:r>
            <a:r>
              <a:rPr lang="en-US" sz="1000" dirty="0" err="1">
                <a:solidFill>
                  <a:srgbClr val="0070C0"/>
                </a:solidFill>
              </a:rPr>
              <a:t>Txn</a:t>
            </a:r>
            <a:endParaRPr lang="en-US" sz="1000" dirty="0">
              <a:solidFill>
                <a:srgbClr val="0070C0"/>
              </a:solidFill>
            </a:endParaRP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Activation Rate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Reactivation Rate </a:t>
            </a:r>
          </a:p>
          <a:p>
            <a:pPr marL="628604" lvl="1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Discount percent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Top trending produ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70C0"/>
                </a:solidFill>
              </a:rPr>
              <a:t>Specific marketing campaign perform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solidFill>
                <a:srgbClr val="0070C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7566" y="3935896"/>
            <a:ext cx="44924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0070C0"/>
                </a:solidFill>
              </a:rPr>
              <a:t>Graphs are only for example, numbers are directiona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7688" y="613276"/>
            <a:ext cx="2905091" cy="301109"/>
          </a:xfrm>
          <a:prstGeom prst="snip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Ideas can be implemented over dashboard</a:t>
            </a:r>
          </a:p>
        </p:txBody>
      </p:sp>
    </p:spTree>
    <p:extLst>
      <p:ext uri="{BB962C8B-B14F-4D97-AF65-F5344CB8AC3E}">
        <p14:creationId xmlns:p14="http://schemas.microsoft.com/office/powerpoint/2010/main" val="717879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b="1" dirty="0"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53091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6&quot;&gt;&lt;elem m_fUsage=&quot;4.05535410999999970000E+000&quot;&gt;&lt;m_msothmcolidx val=&quot;0&quot;/&gt;&lt;m_rgb r=&quot;0&quot; g=&quot;8c&quot; b=&quot;c2&quot;/&gt;&lt;m_ppcolschidx tagver0=&quot;23004&quot; tagname0=&quot;m_ppcolschidxUNRECOGNIZED&quot; val=&quot;0&quot;/&gt;&lt;m_nBrightness val=&quot;0&quot;/&gt;&lt;/elem&gt;&lt;elem m_fUsage=&quot;3.22278245412378480000E+000&quot;&gt;&lt;m_msothmcolidx val=&quot;0&quot;/&gt;&lt;m_rgb r=&quot;25&quot; g=&quot;b7&quot; b=&quot;e0&quot;/&gt;&lt;m_ppcolschidx tagver0=&quot;23004&quot; tagname0=&quot;m_ppcolschidxUNRECOGNIZED&quot; val=&quot;0&quot;/&gt;&lt;m_nBrightness val=&quot;0&quot;/&gt;&lt;/elem&gt;&lt;elem m_fUsage=&quot;1.04990952519000010000E+000&quot;&gt;&lt;m_msothmcolidx val=&quot;0&quot;/&gt;&lt;m_rgb r=&quot;fe&quot; g=&quot;85&quot; b=&quot;2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a&quot; g=&quot;b0&quot; b=&quot;23&quot;/&gt;&lt;m_ppcolschidx tagver0=&quot;23004&quot; tagname0=&quot;m_ppcolschidxUNRECOGNIZED&quot; val=&quot;0&quot;/&gt;&lt;m_nBrightness val=&quot;0&quot;/&gt;&lt;/elem&gt;&lt;elem m_fUsage=&quot;4.3171554479087121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d5&quot; g=&quot;f0&quot; b=&quot;f9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heme/theme1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767</TotalTime>
  <Words>130</Words>
  <Application>Microsoft Office PowerPoint</Application>
  <PresentationFormat>On-screen Show (16:9)</PresentationFormat>
  <Paragraphs>34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</vt:lpstr>
      <vt:lpstr>Avenir Black</vt:lpstr>
      <vt:lpstr>Avenir Light</vt:lpstr>
      <vt:lpstr>Avenir LT Std 35 Light</vt:lpstr>
      <vt:lpstr>Avenir LT Std 45 Book</vt:lpstr>
      <vt:lpstr>Avenir LT Std 65 Medium</vt:lpstr>
      <vt:lpstr>Avenir LT Std 95 Black</vt:lpstr>
      <vt:lpstr>AvenirNext LT Pro Regular</vt:lpstr>
      <vt:lpstr>Calibri</vt:lpstr>
      <vt:lpstr>Wingdings</vt:lpstr>
      <vt:lpstr>2_Office Theme</vt:lpstr>
      <vt:lpstr>think-cell Slide</vt:lpstr>
      <vt:lpstr>PowerPoint Presentation</vt:lpstr>
      <vt:lpstr>Geo-location Analytics : State-wise</vt:lpstr>
      <vt:lpstr>Geo-location Analytics : Major marke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bara</dc:creator>
  <cp:lastModifiedBy>Mithun Ghosh</cp:lastModifiedBy>
  <cp:revision>2223</cp:revision>
  <cp:lastPrinted>2016-10-11T16:44:59Z</cp:lastPrinted>
  <dcterms:created xsi:type="dcterms:W3CDTF">2016-01-16T21:56:10Z</dcterms:created>
  <dcterms:modified xsi:type="dcterms:W3CDTF">2017-07-10T08:5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